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sldIdLst>
    <p:sldId id="256" r:id="rId2"/>
    <p:sldId id="258" r:id="rId3"/>
    <p:sldId id="263" r:id="rId4"/>
    <p:sldId id="257" r:id="rId5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88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55"/>
    <p:restoredTop sz="94654"/>
  </p:normalViewPr>
  <p:slideViewPr>
    <p:cSldViewPr snapToGrid="0" snapToObjects="1">
      <p:cViewPr>
        <p:scale>
          <a:sx n="65" d="100"/>
          <a:sy n="65" d="100"/>
        </p:scale>
        <p:origin x="360" y="-4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 /><Relationship Id="rId3" Type="http://schemas.openxmlformats.org/officeDocument/2006/relationships/slide" Target="slides/slide2.xml" /><Relationship Id="rId7" Type="http://schemas.openxmlformats.org/officeDocument/2006/relationships/commentAuthors" Target="commentAuthors.xml" /><Relationship Id="rId2" Type="http://schemas.openxmlformats.org/officeDocument/2006/relationships/slide" Target="slides/slide1.xml" /><Relationship Id="rId1" Type="http://schemas.openxmlformats.org/officeDocument/2006/relationships/slideMaster" Target="slideMasters/slideMaster1.xml" /><Relationship Id="rId6" Type="http://schemas.openxmlformats.org/officeDocument/2006/relationships/notesMaster" Target="notesMasters/notesMaster1.xml" /><Relationship Id="rId11" Type="http://schemas.openxmlformats.org/officeDocument/2006/relationships/tableStyles" Target="tableStyles.xml" /><Relationship Id="rId5" Type="http://schemas.openxmlformats.org/officeDocument/2006/relationships/slide" Target="slides/slide4.xml" /><Relationship Id="rId10" Type="http://schemas.openxmlformats.org/officeDocument/2006/relationships/theme" Target="theme/theme1.xml" /><Relationship Id="rId4" Type="http://schemas.openxmlformats.org/officeDocument/2006/relationships/slide" Target="slides/slide3.xml" /><Relationship Id="rId9" Type="http://schemas.openxmlformats.org/officeDocument/2006/relationships/viewProps" Target="viewProps.xml" 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Gr&#225;fico%20en%20Microsoft%20PowerPoint" TargetMode="External" /><Relationship Id="rId2" Type="http://schemas.microsoft.com/office/2011/relationships/chartColorStyle" Target="colors1.xml" /><Relationship Id="rId1" Type="http://schemas.microsoft.com/office/2011/relationships/chartStyle" Target="style1.xml" 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 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Gráfico en Microsoft PowerPoint]Sheet1'!$B$9</c:f>
              <c:strCache>
                <c:ptCount val="1"/>
                <c:pt idx="0">
                  <c:v>Inversió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 1,63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 1,03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solidFill>
                <a:schemeClr val="accent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Gráfico en Microsoft PowerPoint]Sheet1'!$A$10:$A$11</c:f>
              <c:strCache>
                <c:ptCount val="2"/>
                <c:pt idx="0">
                  <c:v>PPTO</c:v>
                </c:pt>
                <c:pt idx="1">
                  <c:v>EJEC.</c:v>
                </c:pt>
              </c:strCache>
            </c:strRef>
          </c:cat>
          <c:val>
            <c:numRef>
              <c:f>'[Gráfico en Microsoft PowerPoint]Sheet1'!$B$10:$B$11</c:f>
              <c:numCache>
                <c:formatCode>_(* #,##0.00_);_(* \(#,##0.00\);_(* "-"??_);_(@_)</c:formatCode>
                <c:ptCount val="2"/>
                <c:pt idx="0">
                  <c:v>1.07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6F-E649-B6B1-DDA83ABF6AE4}"/>
            </c:ext>
          </c:extLst>
        </c:ser>
        <c:ser>
          <c:idx val="1"/>
          <c:order val="1"/>
          <c:tx>
            <c:strRef>
              <c:f>'[Gráfico en Microsoft PowerPoint]Sheet1'!$C$9</c:f>
              <c:strCache>
                <c:ptCount val="1"/>
                <c:pt idx="0">
                  <c:v>Corriente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,75 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 1,86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</c:extLst>
            </c:dLbl>
            <c:spPr>
              <a:solidFill>
                <a:schemeClr val="tx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Gráfico en Microsoft PowerPoint]Sheet1'!$A$10:$A$11</c:f>
              <c:strCache>
                <c:ptCount val="2"/>
                <c:pt idx="0">
                  <c:v>PPTO</c:v>
                </c:pt>
                <c:pt idx="1">
                  <c:v>EJEC.</c:v>
                </c:pt>
              </c:strCache>
            </c:strRef>
          </c:cat>
          <c:val>
            <c:numRef>
              <c:f>'[Gráfico en Microsoft PowerPoint]Sheet1'!$C$10:$C$11</c:f>
              <c:numCache>
                <c:formatCode>_(* #,##0.00_);_(* \(#,##0.00\);_(* "-"??_);_(@_)</c:formatCode>
                <c:ptCount val="2"/>
                <c:pt idx="0">
                  <c:v>3.1</c:v>
                </c:pt>
                <c:pt idx="1">
                  <c:v>2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6F-E649-B6B1-DDA83ABF6A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8371200"/>
        <c:axId val="88372736"/>
      </c:barChart>
      <c:catAx>
        <c:axId val="88371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US"/>
          </a:p>
        </c:txPr>
        <c:crossAx val="88372736"/>
        <c:crosses val="autoZero"/>
        <c:auto val="1"/>
        <c:lblAlgn val="ctr"/>
        <c:lblOffset val="100"/>
        <c:noMultiLvlLbl val="0"/>
      </c:catAx>
      <c:valAx>
        <c:axId val="88372736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none"/>
        <c:minorTickMark val="none"/>
        <c:tickLblPos val="nextTo"/>
        <c:crossAx val="88371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s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s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81818181818182E-2"/>
          <c:y val="6.5989847715736044E-2"/>
          <c:w val="0.92436363636363639"/>
          <c:h val="0.8680203045685279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pattFill prst="wdDn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3D8-E64E-B5AF-B643E6A63D7F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3092634.42</c:v>
                </c:pt>
                <c:pt idx="1">
                  <c:v>2619523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D8-E64E-B5AF-B643E6A63D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5455872"/>
        <c:axId val="95457664"/>
      </c:barChart>
      <c:catAx>
        <c:axId val="95455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95457664"/>
        <c:crosses val="min"/>
        <c:auto val="0"/>
        <c:lblAlgn val="ctr"/>
        <c:lblOffset val="100"/>
        <c:noMultiLvlLbl val="0"/>
      </c:catAx>
      <c:valAx>
        <c:axId val="95457664"/>
        <c:scaling>
          <c:orientation val="minMax"/>
          <c:max val="3092634.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54558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272739933626899E-2"/>
          <c:y val="8.6294416243654817E-2"/>
          <c:w val="0.92436363636363639"/>
          <c:h val="0.8680203045685279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pattFill prst="wdDn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3D8-E64E-B5AF-B643E6A63D7F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3092634.42</c:v>
                </c:pt>
                <c:pt idx="1">
                  <c:v>2619523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D8-E64E-B5AF-B643E6A63D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7125504"/>
        <c:axId val="97127040"/>
      </c:barChart>
      <c:catAx>
        <c:axId val="971255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97127040"/>
        <c:crosses val="min"/>
        <c:auto val="0"/>
        <c:lblAlgn val="ctr"/>
        <c:lblOffset val="100"/>
        <c:noMultiLvlLbl val="0"/>
      </c:catAx>
      <c:valAx>
        <c:axId val="97127040"/>
        <c:scaling>
          <c:orientation val="minMax"/>
          <c:max val="3092634.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71255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888283-229D-224F-9E58-F3AB563CE202}" type="datetimeFigureOut">
              <a:rPr lang="es-ES" smtClean="0"/>
              <a:t>16/09/2021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884EC-DA8F-CA49-B759-1AB99A30AFC9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9817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E63026D-67C6-174B-8209-72AF617667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F2868D3-BB3B-A146-941D-0922A24C7D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039FCF8-70CC-3848-90DB-7C4733751F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0BE7AF-453D-6248-82D4-9D54BD05E256}" type="datetimeFigureOut">
              <a:rPr lang="es-ES" smtClean="0"/>
              <a:t>16/09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227615A-6FE6-194D-A365-35990DD2EF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C945D07-EE8A-4F4A-B69E-450FBEC497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E50E-C858-CD4C-93B3-BD8A6BF07CB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034479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48B6C7E-3398-C247-8BFE-7EA3595A0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DF58E13D-0DFC-9744-A302-1A2B69073A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A65CA8A-1570-CC42-9E47-17FE9D05E0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0BE7AF-453D-6248-82D4-9D54BD05E256}" type="datetimeFigureOut">
              <a:rPr lang="es-ES" smtClean="0"/>
              <a:t>16/09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454C32A-9E71-014E-971F-27DC2DBF26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94B5C01-35F8-9744-97D8-2B48FB654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E50E-C858-CD4C-93B3-BD8A6BF07CB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998627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965FA8BA-D8A8-4C4B-9308-92282DDEEC0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C5698227-A105-BE41-B44E-DA55D88570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90D246F-CD44-954F-95C7-9DAD62376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0BE7AF-453D-6248-82D4-9D54BD05E256}" type="datetimeFigureOut">
              <a:rPr lang="es-ES" smtClean="0"/>
              <a:t>16/09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DF8788B-24B4-2C4D-AACC-A2C9E3CFA1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F8AD4EB-DFB2-994F-8B97-6E1D59DD26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E50E-C858-CD4C-93B3-BD8A6BF07CB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34722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50BA90E-58F4-3A4C-B205-834D065008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118FD5C-2477-2F48-A65B-0F3D4C5293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8922206-0C25-B740-AA48-CBE520DFAF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0BE7AF-453D-6248-82D4-9D54BD05E256}" type="datetimeFigureOut">
              <a:rPr lang="es-ES" smtClean="0"/>
              <a:t>16/09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94B31DE-C5B7-0F49-BD31-93082C615D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B5B9E7A-25BB-6E42-8C69-2B5E09EAF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E50E-C858-CD4C-93B3-BD8A6BF07CB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295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04FEFC-BE7E-5742-8B60-BE51C10CA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FD08DC8-5A1F-1842-B00D-D0B7A72740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44ED1-70D9-1144-BC23-606B368C3F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0BE7AF-453D-6248-82D4-9D54BD05E256}" type="datetimeFigureOut">
              <a:rPr lang="es-ES" smtClean="0"/>
              <a:t>16/09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5AB34FE-FBD2-A940-96AC-95F4AA74E9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9312E32-FB0E-7E4D-A3E0-79280D287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E50E-C858-CD4C-93B3-BD8A6BF07CB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806884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6D546A4-3183-554A-A342-677492640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343AAD1-873D-7F49-A1BB-9661B5352A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D48E07C9-CBD1-9E46-912B-80D6F02DDA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03E3006-FEF8-9E4C-827C-AA7070EF8C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0BE7AF-453D-6248-82D4-9D54BD05E256}" type="datetimeFigureOut">
              <a:rPr lang="es-ES" smtClean="0"/>
              <a:t>16/09/2021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A9EB16D-1156-3F47-B99C-FCE920BA21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BA589553-852C-0E4A-96D3-4F54ACB79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E50E-C858-CD4C-93B3-BD8A6BF07CB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552107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781E931-DF38-5544-9E2B-1B88478CF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D0A23A8-E0B2-7E4F-BDBE-41059F1C9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0B91FBFC-E250-5D41-AD78-FCA865C94C8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B1A4130-0FFC-C84D-9ED8-302155EE4E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C1458242-858E-004B-803B-52F936BB1D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6331F116-53FC-394E-A774-7B5D808C54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0BE7AF-453D-6248-82D4-9D54BD05E256}" type="datetimeFigureOut">
              <a:rPr lang="es-ES" smtClean="0"/>
              <a:t>16/09/2021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B60B58E1-4FEB-C748-86D8-2DDC6826DD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AEA5B45E-A03A-9943-827B-B27A8EFD8B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E50E-C858-CD4C-93B3-BD8A6BF07CB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584548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7AB74E9-984D-E849-9379-C3A940627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5C254C94-4DC4-3044-8BD6-803403C5A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0BE7AF-453D-6248-82D4-9D54BD05E256}" type="datetimeFigureOut">
              <a:rPr lang="es-ES" smtClean="0"/>
              <a:t>16/09/2021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0305F3C-E899-B347-B5FA-C88BC829D9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BC5ABCF-284C-5F47-B84B-ABD3E8AC33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E50E-C858-CD4C-93B3-BD8A6BF07CB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82900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BE867CAF-251D-4242-BD7F-56865DA723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0BE7AF-453D-6248-82D4-9D54BD05E256}" type="datetimeFigureOut">
              <a:rPr lang="es-ES" smtClean="0"/>
              <a:t>16/09/2021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8C28A085-ED93-3542-A64C-5961F9DD3E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7573683-03F8-CA4F-9047-AE5D48EC15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E50E-C858-CD4C-93B3-BD8A6BF07CB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98411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1264B9-75C8-6A4F-B823-0B7E60CFF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43F5E18-3D80-D545-9F17-199F9DCF1A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595C89E7-2E7F-C74A-9F62-8BAF5E8162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495A1AA-ED34-A34A-B390-C738C61CE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0BE7AF-453D-6248-82D4-9D54BD05E256}" type="datetimeFigureOut">
              <a:rPr lang="es-ES" smtClean="0"/>
              <a:t>16/09/2021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5DBF1FF8-2D30-014F-997E-AA600C0DF1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04EFB320-77FF-FC45-BFC2-DC671406AB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E50E-C858-CD4C-93B3-BD8A6BF07CB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258099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7C5D746-15A0-464C-8DBC-BA755C1368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4C618BC-1DA1-BD4B-B7E0-CC7A7D8BE61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87D2B3A6-C4EE-8844-8B9E-63F1648237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4EB3092-EA6A-6342-9D35-B79A9E093C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0BE7AF-453D-6248-82D4-9D54BD05E256}" type="datetimeFigureOut">
              <a:rPr lang="es-ES" smtClean="0"/>
              <a:t>16/09/2021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B173C3B-1BF5-724D-AD03-B48C15B21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2C9F2E5-6C32-3D42-AB9E-FDDE6DC7E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65E50E-C858-CD4C-93B3-BD8A6BF07CB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111299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theme" Target="../theme/theme1.x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F3BADFD-006D-7044-B75F-061526E385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D1058EA-1583-9C47-A31F-8CF60BFF0D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D13FF60-8B5A-F442-8F9E-D7C2036B7F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0BE7AF-453D-6248-82D4-9D54BD05E256}" type="datetimeFigureOut">
              <a:rPr lang="es-ES" smtClean="0"/>
              <a:t>16/09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1D69987-F4E2-8B48-A771-B335EA7825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D6A142A-758D-6D4B-BA83-91F174BA2E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65E50E-C858-CD4C-93B3-BD8A6BF07CB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13853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 /><Relationship Id="rId1" Type="http://schemas.openxmlformats.org/officeDocument/2006/relationships/slideLayout" Target="../slideLayouts/slideLayout1.xml" 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 /><Relationship Id="rId13" Type="http://schemas.openxmlformats.org/officeDocument/2006/relationships/tags" Target="../tags/tag13.xml" /><Relationship Id="rId18" Type="http://schemas.openxmlformats.org/officeDocument/2006/relationships/tags" Target="../tags/tag18.xml" /><Relationship Id="rId26" Type="http://schemas.openxmlformats.org/officeDocument/2006/relationships/tags" Target="../tags/tag26.xml" /><Relationship Id="rId39" Type="http://schemas.openxmlformats.org/officeDocument/2006/relationships/tags" Target="../tags/tag39.xml" /><Relationship Id="rId3" Type="http://schemas.openxmlformats.org/officeDocument/2006/relationships/tags" Target="../tags/tag3.xml" /><Relationship Id="rId21" Type="http://schemas.openxmlformats.org/officeDocument/2006/relationships/tags" Target="../tags/tag21.xml" /><Relationship Id="rId34" Type="http://schemas.openxmlformats.org/officeDocument/2006/relationships/tags" Target="../tags/tag34.xml" /><Relationship Id="rId42" Type="http://schemas.openxmlformats.org/officeDocument/2006/relationships/chart" Target="../charts/chart1.xml" /><Relationship Id="rId7" Type="http://schemas.openxmlformats.org/officeDocument/2006/relationships/tags" Target="../tags/tag7.xml" /><Relationship Id="rId12" Type="http://schemas.openxmlformats.org/officeDocument/2006/relationships/tags" Target="../tags/tag12.xml" /><Relationship Id="rId17" Type="http://schemas.openxmlformats.org/officeDocument/2006/relationships/tags" Target="../tags/tag17.xml" /><Relationship Id="rId25" Type="http://schemas.openxmlformats.org/officeDocument/2006/relationships/tags" Target="../tags/tag25.xml" /><Relationship Id="rId33" Type="http://schemas.openxmlformats.org/officeDocument/2006/relationships/tags" Target="../tags/tag33.xml" /><Relationship Id="rId38" Type="http://schemas.openxmlformats.org/officeDocument/2006/relationships/tags" Target="../tags/tag38.xml" /><Relationship Id="rId2" Type="http://schemas.openxmlformats.org/officeDocument/2006/relationships/tags" Target="../tags/tag2.xml" /><Relationship Id="rId16" Type="http://schemas.openxmlformats.org/officeDocument/2006/relationships/tags" Target="../tags/tag16.xml" /><Relationship Id="rId20" Type="http://schemas.openxmlformats.org/officeDocument/2006/relationships/tags" Target="../tags/tag20.xml" /><Relationship Id="rId29" Type="http://schemas.openxmlformats.org/officeDocument/2006/relationships/tags" Target="../tags/tag29.xml" /><Relationship Id="rId41" Type="http://schemas.openxmlformats.org/officeDocument/2006/relationships/image" Target="../media/image2.png" /><Relationship Id="rId1" Type="http://schemas.openxmlformats.org/officeDocument/2006/relationships/tags" Target="../tags/tag1.xml" /><Relationship Id="rId6" Type="http://schemas.openxmlformats.org/officeDocument/2006/relationships/tags" Target="../tags/tag6.xml" /><Relationship Id="rId11" Type="http://schemas.openxmlformats.org/officeDocument/2006/relationships/tags" Target="../tags/tag11.xml" /><Relationship Id="rId24" Type="http://schemas.openxmlformats.org/officeDocument/2006/relationships/tags" Target="../tags/tag24.xml" /><Relationship Id="rId32" Type="http://schemas.openxmlformats.org/officeDocument/2006/relationships/tags" Target="../tags/tag32.xml" /><Relationship Id="rId37" Type="http://schemas.openxmlformats.org/officeDocument/2006/relationships/tags" Target="../tags/tag37.xml" /><Relationship Id="rId40" Type="http://schemas.openxmlformats.org/officeDocument/2006/relationships/slideLayout" Target="../slideLayouts/slideLayout2.xml" /><Relationship Id="rId5" Type="http://schemas.openxmlformats.org/officeDocument/2006/relationships/tags" Target="../tags/tag5.xml" /><Relationship Id="rId15" Type="http://schemas.openxmlformats.org/officeDocument/2006/relationships/tags" Target="../tags/tag15.xml" /><Relationship Id="rId23" Type="http://schemas.openxmlformats.org/officeDocument/2006/relationships/tags" Target="../tags/tag23.xml" /><Relationship Id="rId28" Type="http://schemas.openxmlformats.org/officeDocument/2006/relationships/tags" Target="../tags/tag28.xml" /><Relationship Id="rId36" Type="http://schemas.openxmlformats.org/officeDocument/2006/relationships/tags" Target="../tags/tag36.xml" /><Relationship Id="rId10" Type="http://schemas.openxmlformats.org/officeDocument/2006/relationships/tags" Target="../tags/tag10.xml" /><Relationship Id="rId19" Type="http://schemas.openxmlformats.org/officeDocument/2006/relationships/tags" Target="../tags/tag19.xml" /><Relationship Id="rId31" Type="http://schemas.openxmlformats.org/officeDocument/2006/relationships/tags" Target="../tags/tag31.xml" /><Relationship Id="rId44" Type="http://schemas.openxmlformats.org/officeDocument/2006/relationships/chart" Target="../charts/chart3.xml" /><Relationship Id="rId4" Type="http://schemas.openxmlformats.org/officeDocument/2006/relationships/tags" Target="../tags/tag4.xml" /><Relationship Id="rId9" Type="http://schemas.openxmlformats.org/officeDocument/2006/relationships/tags" Target="../tags/tag9.xml" /><Relationship Id="rId14" Type="http://schemas.openxmlformats.org/officeDocument/2006/relationships/tags" Target="../tags/tag14.xml" /><Relationship Id="rId22" Type="http://schemas.openxmlformats.org/officeDocument/2006/relationships/tags" Target="../tags/tag22.xml" /><Relationship Id="rId27" Type="http://schemas.openxmlformats.org/officeDocument/2006/relationships/tags" Target="../tags/tag27.xml" /><Relationship Id="rId30" Type="http://schemas.openxmlformats.org/officeDocument/2006/relationships/tags" Target="../tags/tag30.xml" /><Relationship Id="rId35" Type="http://schemas.openxmlformats.org/officeDocument/2006/relationships/tags" Target="../tags/tag35.xml" /><Relationship Id="rId43" Type="http://schemas.openxmlformats.org/officeDocument/2006/relationships/chart" Target="../charts/chart2.xml" 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Layout" Target="../slideLayouts/slideLayout2.xml" 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Layout" Target="../slideLayouts/slideLayout2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92801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1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A999DDF2-9631-BE42-82D7-AAD4F6E6174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4456604"/>
              </p:ext>
            </p:extLst>
          </p:nvPr>
        </p:nvGraphicFramePr>
        <p:xfrm>
          <a:off x="0" y="2544866"/>
          <a:ext cx="3420094" cy="41361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9373B07-01D2-F44C-BDCF-EF3772587161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678941" y="2561956"/>
            <a:ext cx="4730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EC" sz="1800" b="1" dirty="0"/>
              <a:t>4,38</a:t>
            </a:r>
          </a:p>
        </p:txBody>
      </p:sp>
      <p:sp>
        <p:nvSpPr>
          <p:cNvPr id="4" name="Marcador de texto 2">
            <a:extLst>
              <a:ext uri="{FF2B5EF4-FFF2-40B4-BE49-F238E27FC236}">
                <a16:creationId xmlns:a16="http://schemas.microsoft.com/office/drawing/2014/main" id="{57D476BD-789C-9945-96ED-A98F03F795FD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2256380" y="3317758"/>
            <a:ext cx="4730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EC" sz="1800" b="1" dirty="0"/>
              <a:t>2,89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75C75C9F-2139-6647-8ADD-C0E6E2CE3C80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 flipV="1">
            <a:off x="2480117" y="2174998"/>
            <a:ext cx="0" cy="105260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A2A286E9-FF07-EA4E-9654-007038C58FD8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856104" y="2174997"/>
            <a:ext cx="16240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DC3E18B3-032C-F949-AA5E-348F3F11396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384742" y="2038472"/>
            <a:ext cx="566738" cy="273050"/>
          </a:xfrm>
          <a:prstGeom prst="ellipse">
            <a:avLst/>
          </a:prstGeom>
          <a:solidFill>
            <a:srgbClr val="C30C3E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EC" altLang="en-US" sz="1400" b="1" dirty="0">
                <a:solidFill>
                  <a:schemeClr val="bg1"/>
                </a:solidFill>
              </a:rPr>
              <a:t>66%</a:t>
            </a:r>
            <a:endParaRPr lang="es-EC" sz="1400" b="1" dirty="0">
              <a:solidFill>
                <a:schemeClr val="bg1"/>
              </a:solidFill>
            </a:endParaRPr>
          </a:p>
        </p:txBody>
      </p: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E40D8A18-3D71-724F-90F3-6762DFC08FF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856104" y="2174997"/>
            <a:ext cx="0" cy="253362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CuadroTexto 10">
            <a:extLst>
              <a:ext uri="{FF2B5EF4-FFF2-40B4-BE49-F238E27FC236}">
                <a16:creationId xmlns:a16="http://schemas.microsoft.com/office/drawing/2014/main" id="{D2259E2F-474A-5743-9068-61D89A68387F}"/>
              </a:ext>
            </a:extLst>
          </p:cNvPr>
          <p:cNvSpPr txBox="1"/>
          <p:nvPr/>
        </p:nvSpPr>
        <p:spPr>
          <a:xfrm>
            <a:off x="386492" y="939816"/>
            <a:ext cx="26471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2000" b="1" dirty="0">
                <a:solidFill>
                  <a:srgbClr val="002060"/>
                </a:solidFill>
              </a:rPr>
              <a:t>Ejecución presupuestaria (MM)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E0443B39-1A00-9944-A168-9BF50A292F55}"/>
              </a:ext>
            </a:extLst>
          </p:cNvPr>
          <p:cNvSpPr txBox="1"/>
          <p:nvPr/>
        </p:nvSpPr>
        <p:spPr>
          <a:xfrm>
            <a:off x="602245" y="1662879"/>
            <a:ext cx="21875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1400" b="1" dirty="0"/>
              <a:t>Enero –  Agosto</a:t>
            </a:r>
          </a:p>
        </p:txBody>
      </p:sp>
      <p:graphicFrame>
        <p:nvGraphicFramePr>
          <p:cNvPr id="23" name="Chart 3">
            <a:extLst>
              <a:ext uri="{FF2B5EF4-FFF2-40B4-BE49-F238E27FC236}">
                <a16:creationId xmlns:a16="http://schemas.microsoft.com/office/drawing/2014/main" id="{47E68A6F-1286-4643-A9A4-F548AF21D9EF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51698460"/>
              </p:ext>
            </p:extLst>
          </p:nvPr>
        </p:nvGraphicFramePr>
        <p:xfrm>
          <a:off x="3759411" y="3437320"/>
          <a:ext cx="2182812" cy="1250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9E1C0218-3676-A14D-A6CA-31BD99E9812D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5306190" y="3114736"/>
            <a:ext cx="0" cy="3190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70F46186-94A4-E04C-A975-B6D1C608A15D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4298127" y="3102498"/>
            <a:ext cx="10080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1A094ED0-2C8E-A24B-99B9-31E9E1443F6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4270332" y="3089412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Marcador de texto 2">
            <a:extLst>
              <a:ext uri="{FF2B5EF4-FFF2-40B4-BE49-F238E27FC236}">
                <a16:creationId xmlns:a16="http://schemas.microsoft.com/office/drawing/2014/main" id="{54B64C9C-6617-744A-B447-2557DC7A58E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139377" y="3303801"/>
            <a:ext cx="317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EC" sz="1200" b="1" dirty="0"/>
              <a:t>1,63</a:t>
            </a:r>
          </a:p>
        </p:txBody>
      </p:sp>
      <p:sp>
        <p:nvSpPr>
          <p:cNvPr id="28" name="Marcador de texto 2">
            <a:extLst>
              <a:ext uri="{FF2B5EF4-FFF2-40B4-BE49-F238E27FC236}">
                <a16:creationId xmlns:a16="http://schemas.microsoft.com/office/drawing/2014/main" id="{98E8BDEC-1EAC-D946-BBF9-8EBC19205D3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106195" y="4688270"/>
            <a:ext cx="349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9A09F4-2D4F-4E18-AB81-50919431B441}" type="datetime'''''P''P''''''''''''''''''''''''''''T''''O'''''''''''">
              <a:rPr lang="es-EC" altLang="en-US" sz="1200" b="1" smtClean="0"/>
              <a:pPr/>
              <a:t>PPTO</a:t>
            </a:fld>
            <a:endParaRPr lang="es-EC" sz="1200" b="1" dirty="0"/>
          </a:p>
        </p:txBody>
      </p:sp>
      <p:sp>
        <p:nvSpPr>
          <p:cNvPr id="29" name="Marcador de texto 2">
            <a:extLst>
              <a:ext uri="{FF2B5EF4-FFF2-40B4-BE49-F238E27FC236}">
                <a16:creationId xmlns:a16="http://schemas.microsoft.com/office/drawing/2014/main" id="{183DA6C1-8266-0F4C-86D2-6CC0A21D4EE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218513" y="4694270"/>
            <a:ext cx="3333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71CF1B-8A15-4C7D-9465-C0C722560D0A}" type="datetime'E''''''''''''''''''''J''E''''''''C.'''''''''''''''''''''">
              <a:rPr lang="es-EC" altLang="en-US" sz="1200" b="1" smtClean="0"/>
              <a:pPr/>
              <a:t>EJEC.</a:t>
            </a:fld>
            <a:endParaRPr lang="es-EC" sz="1200" b="1" dirty="0"/>
          </a:p>
        </p:txBody>
      </p:sp>
      <p:sp>
        <p:nvSpPr>
          <p:cNvPr id="30" name="Marcador de texto 2">
            <a:extLst>
              <a:ext uri="{FF2B5EF4-FFF2-40B4-BE49-F238E27FC236}">
                <a16:creationId xmlns:a16="http://schemas.microsoft.com/office/drawing/2014/main" id="{60BA320C-583F-DF4A-8C17-7522C155741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168317" y="3493499"/>
            <a:ext cx="317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EC" sz="1200" b="1" dirty="0"/>
              <a:t>1,03</a:t>
            </a:r>
          </a:p>
        </p:txBody>
      </p:sp>
      <p:sp>
        <p:nvSpPr>
          <p:cNvPr id="31" name="Marcador de texto 2">
            <a:extLst>
              <a:ext uri="{FF2B5EF4-FFF2-40B4-BE49-F238E27FC236}">
                <a16:creationId xmlns:a16="http://schemas.microsoft.com/office/drawing/2014/main" id="{34B48E5E-DA41-3E45-AC70-35A21A4A3B9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567448" y="2725492"/>
            <a:ext cx="566738" cy="273050"/>
          </a:xfrm>
          <a:prstGeom prst="ellipse">
            <a:avLst/>
          </a:prstGeom>
          <a:solidFill>
            <a:srgbClr val="37E418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EC" altLang="en-US" sz="1400" b="1" dirty="0"/>
              <a:t>63%</a:t>
            </a:r>
            <a:endParaRPr lang="es-EC" sz="1400" b="1" dirty="0"/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27C8F4E0-9C18-9C48-AAD9-9A7260ACE4B7}"/>
              </a:ext>
            </a:extLst>
          </p:cNvPr>
          <p:cNvSpPr txBox="1"/>
          <p:nvPr/>
        </p:nvSpPr>
        <p:spPr>
          <a:xfrm>
            <a:off x="3880855" y="2128170"/>
            <a:ext cx="19399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1400" b="1" dirty="0">
                <a:solidFill>
                  <a:srgbClr val="002060"/>
                </a:solidFill>
              </a:rPr>
              <a:t>Gasto corriente</a:t>
            </a:r>
          </a:p>
        </p:txBody>
      </p:sp>
      <p:sp>
        <p:nvSpPr>
          <p:cNvPr id="47" name="Marcador de texto 2">
            <a:extLst>
              <a:ext uri="{FF2B5EF4-FFF2-40B4-BE49-F238E27FC236}">
                <a16:creationId xmlns:a16="http://schemas.microsoft.com/office/drawing/2014/main" id="{D38218B6-FC75-3149-8AE8-0BFFB634545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172649" y="5081801"/>
            <a:ext cx="317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s-EC" sz="1200" b="1" dirty="0"/>
          </a:p>
        </p:txBody>
      </p:sp>
      <p:sp>
        <p:nvSpPr>
          <p:cNvPr id="48" name="Marcador de texto 2">
            <a:extLst>
              <a:ext uri="{FF2B5EF4-FFF2-40B4-BE49-F238E27FC236}">
                <a16:creationId xmlns:a16="http://schemas.microsoft.com/office/drawing/2014/main" id="{0BE46F3D-747D-4246-8B94-38F77180934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156774" y="5789826"/>
            <a:ext cx="349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s-EC" sz="1200" b="1" dirty="0"/>
          </a:p>
        </p:txBody>
      </p:sp>
      <p:sp>
        <p:nvSpPr>
          <p:cNvPr id="49" name="Marcador de texto 2">
            <a:extLst>
              <a:ext uri="{FF2B5EF4-FFF2-40B4-BE49-F238E27FC236}">
                <a16:creationId xmlns:a16="http://schemas.microsoft.com/office/drawing/2014/main" id="{9CF431DD-3C3F-6A43-A5FE-0F7F9402FA5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172775" y="5789826"/>
            <a:ext cx="3333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s-EC" sz="1200" b="1" dirty="0"/>
          </a:p>
        </p:txBody>
      </p:sp>
      <p:sp>
        <p:nvSpPr>
          <p:cNvPr id="50" name="Marcador de texto 2">
            <a:extLst>
              <a:ext uri="{FF2B5EF4-FFF2-40B4-BE49-F238E27FC236}">
                <a16:creationId xmlns:a16="http://schemas.microsoft.com/office/drawing/2014/main" id="{08B7723E-51CF-2A4F-B237-0DA37D1064A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180712" y="5548526"/>
            <a:ext cx="317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s-EC" sz="1200" b="1" dirty="0"/>
          </a:p>
        </p:txBody>
      </p:sp>
      <p:sp>
        <p:nvSpPr>
          <p:cNvPr id="70" name="Marcador de texto 2">
            <a:extLst>
              <a:ext uri="{FF2B5EF4-FFF2-40B4-BE49-F238E27FC236}">
                <a16:creationId xmlns:a16="http://schemas.microsoft.com/office/drawing/2014/main" id="{E8E13937-3A9E-FC49-90B4-4ECE64D4099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218937" y="3303801"/>
            <a:ext cx="349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s-EC" sz="1200" b="1" dirty="0"/>
          </a:p>
        </p:txBody>
      </p:sp>
      <p:sp>
        <p:nvSpPr>
          <p:cNvPr id="72" name="Marcador de texto 2">
            <a:extLst>
              <a:ext uri="{FF2B5EF4-FFF2-40B4-BE49-F238E27FC236}">
                <a16:creationId xmlns:a16="http://schemas.microsoft.com/office/drawing/2014/main" id="{214EBA76-B214-3B44-ACF2-F55AEA95224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242874" y="3062501"/>
            <a:ext cx="317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s-EC" sz="1200" b="1" dirty="0"/>
          </a:p>
        </p:txBody>
      </p:sp>
      <p:sp>
        <p:nvSpPr>
          <p:cNvPr id="73" name="Marcador de texto 2">
            <a:extLst>
              <a:ext uri="{FF2B5EF4-FFF2-40B4-BE49-F238E27FC236}">
                <a16:creationId xmlns:a16="http://schemas.microsoft.com/office/drawing/2014/main" id="{5D39352C-681B-1E4D-A9D3-13A82434DDE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234812" y="3062501"/>
            <a:ext cx="317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s-EC" sz="1200" b="1" dirty="0"/>
          </a:p>
        </p:txBody>
      </p:sp>
      <p:sp>
        <p:nvSpPr>
          <p:cNvPr id="78" name="CuadroTexto 77">
            <a:extLst>
              <a:ext uri="{FF2B5EF4-FFF2-40B4-BE49-F238E27FC236}">
                <a16:creationId xmlns:a16="http://schemas.microsoft.com/office/drawing/2014/main" id="{EA6E6DA7-BC97-F34D-BD7F-66089E1BFA68}"/>
              </a:ext>
            </a:extLst>
          </p:cNvPr>
          <p:cNvSpPr txBox="1"/>
          <p:nvPr/>
        </p:nvSpPr>
        <p:spPr>
          <a:xfrm>
            <a:off x="9972072" y="1558007"/>
            <a:ext cx="2151559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C" sz="1400" b="1" dirty="0"/>
              <a:t>Conclusiones</a:t>
            </a:r>
          </a:p>
          <a:p>
            <a:pPr algn="just"/>
            <a:endParaRPr lang="es-EC" sz="1400" dirty="0"/>
          </a:p>
          <a:p>
            <a:pPr algn="just"/>
            <a:r>
              <a:rPr lang="es-EC" sz="1400" dirty="0"/>
              <a:t>-Se ha </a:t>
            </a:r>
            <a:r>
              <a:rPr lang="es-EC" sz="1400" b="1" dirty="0"/>
              <a:t>ejecutado un 66%</a:t>
            </a:r>
            <a:r>
              <a:rPr lang="es-EC" sz="1400" dirty="0"/>
              <a:t> del PPTO planificado hasta agosto de 2021.</a:t>
            </a:r>
          </a:p>
          <a:p>
            <a:pPr algn="just"/>
            <a:endParaRPr lang="es-EC" sz="1400" dirty="0"/>
          </a:p>
          <a:p>
            <a:pPr algn="just"/>
            <a:r>
              <a:rPr lang="es-EC" sz="1400" dirty="0"/>
              <a:t>-La ejecución de </a:t>
            </a:r>
            <a:r>
              <a:rPr lang="es-EC" sz="1400" b="1" dirty="0"/>
              <a:t>gasto corriente constituye el 63% </a:t>
            </a:r>
            <a:r>
              <a:rPr lang="es-EC" sz="1400" dirty="0"/>
              <a:t>de lo ejecutado hasta la fecha.</a:t>
            </a:r>
          </a:p>
          <a:p>
            <a:pPr algn="just"/>
            <a:endParaRPr lang="es-EC" sz="1400" dirty="0"/>
          </a:p>
          <a:p>
            <a:pPr algn="just"/>
            <a:r>
              <a:rPr lang="es-EC" sz="1400" dirty="0"/>
              <a:t>-El proyecto 1 “Difusión de la Gestión Institucional” registra una ejecución de </a:t>
            </a:r>
            <a:r>
              <a:rPr lang="es-EC" sz="1400" b="1" dirty="0"/>
              <a:t>67%</a:t>
            </a:r>
            <a:r>
              <a:rPr lang="es-EC" sz="1400" dirty="0"/>
              <a:t>.</a:t>
            </a:r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id="{41A5C898-BBA8-F847-B034-68FDADDF52FA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V="1">
            <a:off x="8595319" y="2574761"/>
            <a:ext cx="0" cy="309561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Conector recto 90">
            <a:extLst>
              <a:ext uri="{FF2B5EF4-FFF2-40B4-BE49-F238E27FC236}">
                <a16:creationId xmlns:a16="http://schemas.microsoft.com/office/drawing/2014/main" id="{AA1751EA-02B7-A645-94CA-AC7A5DA2C643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7587256" y="2548899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Conector recto 91">
            <a:extLst>
              <a:ext uri="{FF2B5EF4-FFF2-40B4-BE49-F238E27FC236}">
                <a16:creationId xmlns:a16="http://schemas.microsoft.com/office/drawing/2014/main" id="{15832A92-63A8-014B-A535-6C8C4CE5AF88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H="1">
            <a:off x="7587256" y="2568500"/>
            <a:ext cx="10080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4" name="Marcador de texto 2">
            <a:extLst>
              <a:ext uri="{FF2B5EF4-FFF2-40B4-BE49-F238E27FC236}">
                <a16:creationId xmlns:a16="http://schemas.microsoft.com/office/drawing/2014/main" id="{409220B7-5E8E-2746-BAE7-A7CC0243DEB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459489" y="4694270"/>
            <a:ext cx="349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5E3D10-E35E-45F3-91A2-DAE3D9AC3A42}" type="datetime'''''''P''''''P''''''''T''''''O'">
              <a:rPr lang="es-EC" altLang="en-US" sz="1200" b="1" smtClean="0"/>
              <a:pPr/>
              <a:t>PPTO</a:t>
            </a:fld>
            <a:endParaRPr lang="es-EC" sz="1200" b="1" dirty="0"/>
          </a:p>
        </p:txBody>
      </p:sp>
      <p:sp>
        <p:nvSpPr>
          <p:cNvPr id="95" name="Marcador de texto 2">
            <a:extLst>
              <a:ext uri="{FF2B5EF4-FFF2-40B4-BE49-F238E27FC236}">
                <a16:creationId xmlns:a16="http://schemas.microsoft.com/office/drawing/2014/main" id="{C4165995-9ADF-8949-A527-3C5D573A5B1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376311" y="4716894"/>
            <a:ext cx="3333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BE3ACC-A6DF-457E-9D77-8513E1834921}" type="datetime'''''E''''JE''''''''C''''''''.'''''''''''''''''''''''''''''''''">
              <a:rPr lang="es-EC" altLang="en-US" sz="1200" b="1" smtClean="0"/>
              <a:pPr/>
              <a:t>EJEC.</a:t>
            </a:fld>
            <a:endParaRPr lang="es-EC" sz="1200" b="1" dirty="0"/>
          </a:p>
        </p:txBody>
      </p:sp>
      <p:sp>
        <p:nvSpPr>
          <p:cNvPr id="96" name="Marcador de texto 2">
            <a:extLst>
              <a:ext uri="{FF2B5EF4-FFF2-40B4-BE49-F238E27FC236}">
                <a16:creationId xmlns:a16="http://schemas.microsoft.com/office/drawing/2014/main" id="{04124D29-8136-EE44-B456-2BF2A04C630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428506" y="2754872"/>
            <a:ext cx="317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EC" altLang="en-US" sz="1200" b="1" dirty="0"/>
              <a:t>2,75</a:t>
            </a:r>
            <a:endParaRPr lang="es-EC" sz="1200" b="1" dirty="0"/>
          </a:p>
        </p:txBody>
      </p:sp>
      <p:sp>
        <p:nvSpPr>
          <p:cNvPr id="97" name="Marcador de texto 2">
            <a:extLst>
              <a:ext uri="{FF2B5EF4-FFF2-40B4-BE49-F238E27FC236}">
                <a16:creationId xmlns:a16="http://schemas.microsoft.com/office/drawing/2014/main" id="{1C8D069D-C9FE-1F4F-9505-F26E74C33A8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986368" y="2130633"/>
            <a:ext cx="407194" cy="273050"/>
          </a:xfrm>
          <a:prstGeom prst="ellipse">
            <a:avLst/>
          </a:prstGeom>
          <a:solidFill>
            <a:srgbClr val="C30C3E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EC" altLang="en-US" sz="1400" b="1" dirty="0">
                <a:solidFill>
                  <a:schemeClr val="bg1"/>
                </a:solidFill>
              </a:rPr>
              <a:t>67%</a:t>
            </a:r>
            <a:endParaRPr lang="es-EC" sz="1400" b="1" dirty="0">
              <a:solidFill>
                <a:schemeClr val="bg1"/>
              </a:solidFill>
            </a:endParaRPr>
          </a:p>
        </p:txBody>
      </p:sp>
      <p:sp>
        <p:nvSpPr>
          <p:cNvPr id="98" name="CuadroTexto 97">
            <a:extLst>
              <a:ext uri="{FF2B5EF4-FFF2-40B4-BE49-F238E27FC236}">
                <a16:creationId xmlns:a16="http://schemas.microsoft.com/office/drawing/2014/main" id="{76C484EC-0B05-D74E-A150-9581829878E2}"/>
              </a:ext>
            </a:extLst>
          </p:cNvPr>
          <p:cNvSpPr txBox="1"/>
          <p:nvPr/>
        </p:nvSpPr>
        <p:spPr>
          <a:xfrm>
            <a:off x="6490149" y="1569169"/>
            <a:ext cx="30270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1400" b="1" dirty="0">
                <a:solidFill>
                  <a:srgbClr val="002060"/>
                </a:solidFill>
              </a:rPr>
              <a:t>Proyecto de inversión 1</a:t>
            </a:r>
          </a:p>
          <a:p>
            <a:pPr algn="ctr"/>
            <a:r>
              <a:rPr lang="es-EC" sz="1400" b="1" dirty="0">
                <a:solidFill>
                  <a:srgbClr val="002060"/>
                </a:solidFill>
              </a:rPr>
              <a:t>Difusión de la Gestión Institucional</a:t>
            </a:r>
          </a:p>
        </p:txBody>
      </p:sp>
      <p:sp>
        <p:nvSpPr>
          <p:cNvPr id="104" name="Marcador de texto 2">
            <a:extLst>
              <a:ext uri="{FF2B5EF4-FFF2-40B4-BE49-F238E27FC236}">
                <a16:creationId xmlns:a16="http://schemas.microsoft.com/office/drawing/2014/main" id="{B121FAE5-FD94-FB46-BBDC-40318106B37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166788" y="5081801"/>
            <a:ext cx="317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s-EC" sz="1200" b="1" dirty="0"/>
          </a:p>
        </p:txBody>
      </p:sp>
      <p:sp>
        <p:nvSpPr>
          <p:cNvPr id="106" name="Marcador de texto 2">
            <a:extLst>
              <a:ext uri="{FF2B5EF4-FFF2-40B4-BE49-F238E27FC236}">
                <a16:creationId xmlns:a16="http://schemas.microsoft.com/office/drawing/2014/main" id="{4E2098F0-9B74-204B-B6E2-DB4A2041C44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166914" y="5789826"/>
            <a:ext cx="3333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s-EC" sz="1200" b="1" dirty="0"/>
          </a:p>
        </p:txBody>
      </p:sp>
      <p:sp>
        <p:nvSpPr>
          <p:cNvPr id="107" name="Marcador de texto 2">
            <a:extLst>
              <a:ext uri="{FF2B5EF4-FFF2-40B4-BE49-F238E27FC236}">
                <a16:creationId xmlns:a16="http://schemas.microsoft.com/office/drawing/2014/main" id="{BF2F3F65-339E-5A46-A060-B1E84E3E95C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174851" y="5548526"/>
            <a:ext cx="317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s-EC" sz="1200" b="1" dirty="0"/>
          </a:p>
        </p:txBody>
      </p:sp>
      <p:sp>
        <p:nvSpPr>
          <p:cNvPr id="116" name="Marcador de texto 2">
            <a:extLst>
              <a:ext uri="{FF2B5EF4-FFF2-40B4-BE49-F238E27FC236}">
                <a16:creationId xmlns:a16="http://schemas.microsoft.com/office/drawing/2014/main" id="{A2B954A3-F3D4-674F-91E6-6BA231BC9FE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175722" y="5789826"/>
            <a:ext cx="349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s-EC" sz="1200" b="1" dirty="0"/>
          </a:p>
        </p:txBody>
      </p:sp>
      <p:sp>
        <p:nvSpPr>
          <p:cNvPr id="118" name="Marcador de texto 2">
            <a:extLst>
              <a:ext uri="{FF2B5EF4-FFF2-40B4-BE49-F238E27FC236}">
                <a16:creationId xmlns:a16="http://schemas.microsoft.com/office/drawing/2014/main" id="{4843BEF0-7343-1943-BAA1-5928C8ACEFF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9199660" y="5548526"/>
            <a:ext cx="317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s-EC" sz="1200" b="1" dirty="0"/>
          </a:p>
        </p:txBody>
      </p:sp>
      <p:sp>
        <p:nvSpPr>
          <p:cNvPr id="123" name="CuadroTexto 122">
            <a:extLst>
              <a:ext uri="{FF2B5EF4-FFF2-40B4-BE49-F238E27FC236}">
                <a16:creationId xmlns:a16="http://schemas.microsoft.com/office/drawing/2014/main" id="{55870A71-74FC-1E4F-904F-A75E4568B23A}"/>
              </a:ext>
            </a:extLst>
          </p:cNvPr>
          <p:cNvSpPr txBox="1"/>
          <p:nvPr/>
        </p:nvSpPr>
        <p:spPr>
          <a:xfrm>
            <a:off x="4455445" y="1100322"/>
            <a:ext cx="4759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2000" b="1" dirty="0">
                <a:solidFill>
                  <a:srgbClr val="002060"/>
                </a:solidFill>
              </a:rPr>
              <a:t>Desglose Ejecución presupuestaria (MM)</a:t>
            </a:r>
          </a:p>
        </p:txBody>
      </p:sp>
      <p:sp>
        <p:nvSpPr>
          <p:cNvPr id="126" name="Flecha derecha 125">
            <a:extLst>
              <a:ext uri="{FF2B5EF4-FFF2-40B4-BE49-F238E27FC236}">
                <a16:creationId xmlns:a16="http://schemas.microsoft.com/office/drawing/2014/main" id="{065F9088-ECF3-AA45-AD2D-BB43DD2CA75E}"/>
              </a:ext>
            </a:extLst>
          </p:cNvPr>
          <p:cNvSpPr/>
          <p:nvPr/>
        </p:nvSpPr>
        <p:spPr>
          <a:xfrm>
            <a:off x="3182587" y="3815881"/>
            <a:ext cx="463138" cy="42029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  <p:sp>
        <p:nvSpPr>
          <p:cNvPr id="129" name="CuadroTexto 128">
            <a:extLst>
              <a:ext uri="{FF2B5EF4-FFF2-40B4-BE49-F238E27FC236}">
                <a16:creationId xmlns:a16="http://schemas.microsoft.com/office/drawing/2014/main" id="{8649FB33-CC82-0449-B367-78A868A2CF26}"/>
              </a:ext>
            </a:extLst>
          </p:cNvPr>
          <p:cNvSpPr txBox="1"/>
          <p:nvPr/>
        </p:nvSpPr>
        <p:spPr>
          <a:xfrm>
            <a:off x="3260252" y="360554"/>
            <a:ext cx="60981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3200" b="1" dirty="0">
                <a:solidFill>
                  <a:srgbClr val="002060"/>
                </a:solidFill>
              </a:rPr>
              <a:t>SECRETARÍA DE COMUNICACIÓN</a:t>
            </a:r>
          </a:p>
        </p:txBody>
      </p:sp>
      <p:sp>
        <p:nvSpPr>
          <p:cNvPr id="88" name="Marcador de texto 2">
            <a:extLst>
              <a:ext uri="{FF2B5EF4-FFF2-40B4-BE49-F238E27FC236}">
                <a16:creationId xmlns:a16="http://schemas.microsoft.com/office/drawing/2014/main" id="{7F2E142D-DE68-FE47-9E22-FD181D1CB3B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201686" y="3306866"/>
            <a:ext cx="349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s-EC" sz="1200" b="1" dirty="0"/>
          </a:p>
        </p:txBody>
      </p:sp>
      <p:sp>
        <p:nvSpPr>
          <p:cNvPr id="122" name="Marcador de texto 2">
            <a:extLst>
              <a:ext uri="{FF2B5EF4-FFF2-40B4-BE49-F238E27FC236}">
                <a16:creationId xmlns:a16="http://schemas.microsoft.com/office/drawing/2014/main" id="{E03A2EFE-6D52-B34B-AA4A-EE174501C9C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217687" y="3306866"/>
            <a:ext cx="3333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s-EC" sz="1200" b="1" dirty="0"/>
          </a:p>
        </p:txBody>
      </p:sp>
      <p:sp>
        <p:nvSpPr>
          <p:cNvPr id="124" name="Marcador de texto 2">
            <a:extLst>
              <a:ext uri="{FF2B5EF4-FFF2-40B4-BE49-F238E27FC236}">
                <a16:creationId xmlns:a16="http://schemas.microsoft.com/office/drawing/2014/main" id="{10E5448F-3022-AA45-997B-2270E45A289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9225624" y="3065566"/>
            <a:ext cx="317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s-EC" sz="1200" b="1" dirty="0"/>
          </a:p>
        </p:txBody>
      </p:sp>
      <p:graphicFrame>
        <p:nvGraphicFramePr>
          <p:cNvPr id="132" name="Chart 3">
            <a:extLst>
              <a:ext uri="{FF2B5EF4-FFF2-40B4-BE49-F238E27FC236}">
                <a16:creationId xmlns:a16="http://schemas.microsoft.com/office/drawing/2014/main" id="{47E68A6F-1286-4643-A9A4-F548AF21D9EF}"/>
              </a:ext>
            </a:extLst>
          </p:cNvPr>
          <p:cNvGraphicFramePr/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1309220737"/>
              </p:ext>
            </p:extLst>
          </p:nvPr>
        </p:nvGraphicFramePr>
        <p:xfrm>
          <a:off x="7022748" y="3065566"/>
          <a:ext cx="2182812" cy="1577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133" name="Marcador de texto 2">
            <a:extLst>
              <a:ext uri="{FF2B5EF4-FFF2-40B4-BE49-F238E27FC236}">
                <a16:creationId xmlns:a16="http://schemas.microsoft.com/office/drawing/2014/main" id="{04124D29-8136-EE44-B456-2BF2A04C6304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8419812" y="2897401"/>
            <a:ext cx="317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s-EC" sz="1200" b="1" dirty="0"/>
              <a:t>1,86</a:t>
            </a:r>
          </a:p>
        </p:txBody>
      </p:sp>
    </p:spTree>
    <p:extLst>
      <p:ext uri="{BB962C8B-B14F-4D97-AF65-F5344CB8AC3E}">
        <p14:creationId xmlns:p14="http://schemas.microsoft.com/office/powerpoint/2010/main" val="12216852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38C7DA95-8518-0840-B5F9-975D84EA21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7403747"/>
              </p:ext>
            </p:extLst>
          </p:nvPr>
        </p:nvGraphicFramePr>
        <p:xfrm>
          <a:off x="3462888" y="1784062"/>
          <a:ext cx="5356647" cy="724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566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4918">
                <a:tc>
                  <a:txBody>
                    <a:bodyPr/>
                    <a:lstStyle/>
                    <a:p>
                      <a:endParaRPr lang="es-EC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22" name="CuadroTexto 121">
            <a:extLst>
              <a:ext uri="{FF2B5EF4-FFF2-40B4-BE49-F238E27FC236}">
                <a16:creationId xmlns:a16="http://schemas.microsoft.com/office/drawing/2014/main" id="{AEF2BC7F-1DD7-E745-90A2-64EEAF0225EE}"/>
              </a:ext>
            </a:extLst>
          </p:cNvPr>
          <p:cNvSpPr txBox="1"/>
          <p:nvPr/>
        </p:nvSpPr>
        <p:spPr>
          <a:xfrm>
            <a:off x="3260252" y="773509"/>
            <a:ext cx="56714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3200" b="1" dirty="0">
                <a:solidFill>
                  <a:srgbClr val="002060"/>
                </a:solidFill>
              </a:rPr>
              <a:t>SECRETARÍA DE COMUNICACIÓN</a:t>
            </a:r>
          </a:p>
        </p:txBody>
      </p:sp>
      <p:sp>
        <p:nvSpPr>
          <p:cNvPr id="123" name="CuadroTexto 122">
            <a:extLst>
              <a:ext uri="{FF2B5EF4-FFF2-40B4-BE49-F238E27FC236}">
                <a16:creationId xmlns:a16="http://schemas.microsoft.com/office/drawing/2014/main" id="{55870A71-74FC-1E4F-904F-A75E4568B23A}"/>
              </a:ext>
            </a:extLst>
          </p:cNvPr>
          <p:cNvSpPr txBox="1"/>
          <p:nvPr/>
        </p:nvSpPr>
        <p:spPr>
          <a:xfrm>
            <a:off x="3260252" y="1638690"/>
            <a:ext cx="582475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s-EC" sz="2000" b="1" dirty="0">
              <a:solidFill>
                <a:srgbClr val="002060"/>
              </a:solidFill>
            </a:endParaRPr>
          </a:p>
          <a:p>
            <a:pPr algn="ctr"/>
            <a:r>
              <a:rPr lang="es-EC" sz="2000" b="1" dirty="0">
                <a:solidFill>
                  <a:srgbClr val="002060"/>
                </a:solidFill>
              </a:rPr>
              <a:t>Ejecución prevista hasta diciembre del 2021</a:t>
            </a:r>
          </a:p>
          <a:p>
            <a:pPr algn="ctr"/>
            <a:endParaRPr lang="es-EC" sz="2000" b="1" dirty="0">
              <a:solidFill>
                <a:srgbClr val="002060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FABF5E54-2C5E-6046-AE96-808B908C3395}"/>
              </a:ext>
            </a:extLst>
          </p:cNvPr>
          <p:cNvSpPr txBox="1"/>
          <p:nvPr/>
        </p:nvSpPr>
        <p:spPr>
          <a:xfrm>
            <a:off x="767346" y="2923849"/>
            <a:ext cx="108105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s-EC" i="1" dirty="0"/>
              <a:t>PAUTA EN MEDIOS:  temas “Bicentenario – Reactivación Económica” – “Movilidad“ – “Legalización de Barrios” – “Agua hasta el 2050” – “Fomento al Turismo” – “Quito Competitivo” – “La ruralidad resurge” - “</a:t>
            </a:r>
            <a:r>
              <a:rPr lang="es-EC" i="1" dirty="0" err="1"/>
              <a:t>FonQuito</a:t>
            </a:r>
            <a:r>
              <a:rPr lang="es-EC" i="1" dirty="0"/>
              <a:t> 3000”</a:t>
            </a:r>
          </a:p>
          <a:p>
            <a:pPr marL="285750" indent="-285750">
              <a:buFont typeface="Wingdings" pitchFamily="2" charset="2"/>
              <a:buChar char="§"/>
            </a:pPr>
            <a:endParaRPr lang="es-EC" i="1" dirty="0"/>
          </a:p>
          <a:p>
            <a:pPr marL="285750" indent="-285750">
              <a:buFont typeface="Wingdings" pitchFamily="2" charset="2"/>
              <a:buChar char="§"/>
            </a:pPr>
            <a:endParaRPr lang="es-EC" i="1" dirty="0"/>
          </a:p>
        </p:txBody>
      </p:sp>
    </p:spTree>
    <p:extLst>
      <p:ext uri="{BB962C8B-B14F-4D97-AF65-F5344CB8AC3E}">
        <p14:creationId xmlns:p14="http://schemas.microsoft.com/office/powerpoint/2010/main" val="15086384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E8706050-56FB-8A4C-8E3A-9B17232140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8012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Ys6BmwJAKZgICEpQYvL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fKCkjZ1UB4116juOkP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prXJHaXf48I_c3pJhd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Te3by1QthxGeye.hd9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T.x22Vtqi4ap4PAZg0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4RkPM9IkF1LgHi0Xxy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vMHJU7hG4XocAU_M4Ni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ptisH02Qi4enMr6aY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JUxJNKzXKvSPbVun2pF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IAVOyytL88cYPPrd6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Ys6BmwJAKZgICEpQYvL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SDOa45eLMeBukhDaWyA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uQ_E9by3AyXZOxlom1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dZofk0jNwiwys0pXn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3k9oiwXlGr3VznVE7D5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UX9Rz61JbmbCyRlHWmh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2Y8nrn1RNzZBuH3kVFW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JUxJNKzXKvSPbVun2pF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IAVOyytL88cYPPrd6F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DqMiautjwCNFBgMGWX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YK4Yf.91Xj2oqm9vCm1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ptisH02Qi4enMr6aY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JUxJNKzXKvSPbVun2p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IAVOyytL88cYPPrd6F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IAVOyytL88cYPPrd6F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JUxJNKzXKvSPbVun2pF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IAVOyytL88cYPPrd6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dTsXNWnba3yYPheEgdV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IAVOyytL88cYPPrd6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g15kvHk0gIvYA3swoJ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6FC64YzBeIVPNoQcPA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KVYVYzyCD3TSztsry0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dTsXNWnba3yYPheEgd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oUKBK91pnkokRu_0oV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E__lKA85J69pYRf55jqQ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6</TotalTime>
  <Words>160</Words>
  <Application>Microsoft Office PowerPoint</Application>
  <PresentationFormat>Panorámica</PresentationFormat>
  <Paragraphs>35</Paragraphs>
  <Slides>4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5" baseType="lpstr">
      <vt:lpstr>Tema de Office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icrosoft Office User</dc:creator>
  <cp:lastModifiedBy>Robinson Robles</cp:lastModifiedBy>
  <cp:revision>18</cp:revision>
  <dcterms:created xsi:type="dcterms:W3CDTF">2021-05-26T13:30:24Z</dcterms:created>
  <dcterms:modified xsi:type="dcterms:W3CDTF">2021-09-16T14:37:13Z</dcterms:modified>
</cp:coreProperties>
</file>